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1"/>
  </p:sldMasterIdLst>
  <p:notesMasterIdLst>
    <p:notesMasterId r:id="rId24"/>
  </p:notesMasterIdLst>
  <p:sldIdLst>
    <p:sldId id="256" r:id="rId2"/>
    <p:sldId id="371" r:id="rId3"/>
    <p:sldId id="373" r:id="rId4"/>
    <p:sldId id="400" r:id="rId5"/>
    <p:sldId id="375" r:id="rId6"/>
    <p:sldId id="376" r:id="rId7"/>
    <p:sldId id="389" r:id="rId8"/>
    <p:sldId id="390" r:id="rId9"/>
    <p:sldId id="391" r:id="rId10"/>
    <p:sldId id="392" r:id="rId11"/>
    <p:sldId id="394" r:id="rId12"/>
    <p:sldId id="395" r:id="rId13"/>
    <p:sldId id="396" r:id="rId14"/>
    <p:sldId id="397" r:id="rId15"/>
    <p:sldId id="398" r:id="rId16"/>
    <p:sldId id="399" r:id="rId17"/>
    <p:sldId id="377" r:id="rId18"/>
    <p:sldId id="379" r:id="rId19"/>
    <p:sldId id="378" r:id="rId20"/>
    <p:sldId id="380" r:id="rId21"/>
    <p:sldId id="387" r:id="rId22"/>
    <p:sldId id="388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48C"/>
    <a:srgbClr val="365579"/>
    <a:srgbClr val="CC0000"/>
    <a:srgbClr val="1B1446"/>
    <a:srgbClr val="F77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65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26" y="14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BDF17-614F-46DD-ACF4-57229D63E37D}" type="datetimeFigureOut">
              <a:rPr lang="en-US" smtClean="0"/>
              <a:t>4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0C0743-FAF1-45D4-85C3-261F3618A2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670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205154" y="230736"/>
            <a:ext cx="11716228" cy="6170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932892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A076FD2-FB1C-41CE-92C9-A91C4551679C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BA497F-2874-4494-BB0B-6124DCFB35E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780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205154" y="230736"/>
            <a:ext cx="11716228" cy="6170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429557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2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BA497F-2874-4494-BB0B-6124DCFB35E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6606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140640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0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1E401B-90F2-4379-84F4-F72E1842A02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2514600"/>
            <a:ext cx="0" cy="182880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DB8AE056-429A-44DF-83FB-424284095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D520613E-A9E4-4D13-8BFE-C5302A788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CAC2BA5-ABC2-4DC5-B2D8-AC4CD331BD10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AEE451-02FF-41FE-B763-E991790C6EEF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75BF1C70-2768-4C6B-8C53-14E4EDA7A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297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67615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04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-1" y="0"/>
            <a:ext cx="9006703" cy="6858000"/>
          </a:xfrm>
          <a:prstGeom prst="homePlate">
            <a:avLst>
              <a:gd name="adj" fmla="val 9523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44B33ABC-BD4B-4CCA-86BD-7C3D30E06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71D58BB0-6D2D-4875-ACAD-8BEBA8120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6B98CB-4136-47DB-A1CE-75553741C078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4752724-06B1-4A65-A787-D2B331386BE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A8386343-0EBC-455D-B823-F5BEF0850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1876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21168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1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DE56F90-71D5-4E07-A091-4BB4379AA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E628BD5-AAD5-445B-92CC-4E2C66D73B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5A2FFE-5B7B-45DD-9A63-85C249A5E6EA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0A2DFC4-6B34-4290-95EB-35423FCB832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FD005B96-AB7E-4172-B5E0-295E982EF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4923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77112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2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237879CD-BCEB-46FE-8A35-A53A7AC8F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7309" y="6507909"/>
            <a:ext cx="374073" cy="271993"/>
          </a:xfrm>
        </p:spPr>
        <p:txBody>
          <a:bodyPr/>
          <a:lstStyle>
            <a:lvl1pPr algn="ctr">
              <a:defRPr sz="10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04E4A957-F8B9-4B04-A71F-559F4648B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155" y="6502196"/>
            <a:ext cx="11237664" cy="283418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4388843-137D-4F0C-A9DA-5FA6030630C0}"/>
              </a:ext>
            </a:extLst>
          </p:cNvPr>
          <p:cNvCxnSpPr/>
          <p:nvPr userDrawn="1"/>
        </p:nvCxnSpPr>
        <p:spPr>
          <a:xfrm>
            <a:off x="350432" y="767539"/>
            <a:ext cx="914400" cy="0"/>
          </a:xfrm>
          <a:prstGeom prst="line">
            <a:avLst/>
          </a:prstGeom>
          <a:ln w="28575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ADAEBC2-6B12-4920-BA45-7E7E8578082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A5A4D4E0-5951-47E2-867B-AFA1712C3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880" y="350091"/>
            <a:ext cx="11294701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12840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8640075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7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0" y="0"/>
            <a:ext cx="3971365" cy="6858000"/>
          </a:xfrm>
          <a:prstGeom prst="homePlate">
            <a:avLst>
              <a:gd name="adj" fmla="val 21375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169" y="3124731"/>
            <a:ext cx="3329483" cy="608541"/>
          </a:xfrm>
        </p:spPr>
        <p:txBody>
          <a:bodyPr>
            <a:normAutofit/>
          </a:bodyPr>
          <a:lstStyle>
            <a:lvl1pPr>
              <a:defRPr sz="2500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fld id="{9A71657B-2E7A-4DC9-A23D-AC9485FEC8B3}" type="datetime1">
              <a:rPr lang="en-US" smtClean="0"/>
              <a:pPr/>
              <a:t>4/5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6" y="6519334"/>
            <a:ext cx="10343488" cy="271993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67118" y="6513622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4ABDDB-EAD9-4C9F-BBC3-DA5B4B783451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95064" y="6502196"/>
            <a:ext cx="0" cy="283419"/>
          </a:xfrm>
          <a:prstGeom prst="line">
            <a:avLst/>
          </a:prstGeom>
          <a:ln w="28575">
            <a:solidFill>
              <a:srgbClr val="0014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4262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23400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5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fld id="{9A71657B-2E7A-4DC9-A23D-AC9485FEC8B3}" type="datetime1">
              <a:rPr lang="en-US" smtClean="0"/>
              <a:pPr/>
              <a:t>4/5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6" y="6519334"/>
            <a:ext cx="10343488" cy="271993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80371" y="6513622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39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796445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07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67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2909696"/>
            <a:ext cx="12192000" cy="1038608"/>
          </a:xfrm>
          <a:solidFill>
            <a:srgbClr val="00148C"/>
          </a:solidFill>
          <a:ln>
            <a:noFill/>
          </a:ln>
        </p:spPr>
        <p:txBody>
          <a:bodyPr anchor="ctr">
            <a:noAutofit/>
          </a:bodyPr>
          <a:lstStyle>
            <a:lvl1pPr marL="231775" indent="0" algn="l">
              <a:defRPr sz="3667" i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Isosceles Triangle 2"/>
          <p:cNvSpPr/>
          <p:nvPr userDrawn="1"/>
        </p:nvSpPr>
        <p:spPr>
          <a:xfrm rot="10800000">
            <a:off x="10950837" y="3938331"/>
            <a:ext cx="494271" cy="483287"/>
          </a:xfrm>
          <a:prstGeom prst="triangle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6044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0971090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34"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8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FE15306F-1960-48AF-8CEE-C1253C2F6427}" type="datetime1">
              <a:rPr lang="en-US" smtClean="0"/>
              <a:pPr/>
              <a:t>4/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443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6" r:id="rId2"/>
    <p:sldLayoutId id="2147483702" r:id="rId3"/>
    <p:sldLayoutId id="2147483699" r:id="rId4"/>
    <p:sldLayoutId id="2147483703" r:id="rId5"/>
    <p:sldLayoutId id="2147483705" r:id="rId6"/>
    <p:sldLayoutId id="2147483670" r:id="rId7"/>
    <p:sldLayoutId id="2147483671" r:id="rId8"/>
    <p:sldLayoutId id="2147483700" r:id="rId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CSSEGISandData/COVID-19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A89E381-FD7F-4DDD-8BE2-A8293351B891}"/>
              </a:ext>
            </a:extLst>
          </p:cNvPr>
          <p:cNvSpPr txBox="1"/>
          <p:nvPr/>
        </p:nvSpPr>
        <p:spPr>
          <a:xfrm>
            <a:off x="269715" y="2859613"/>
            <a:ext cx="1153196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rgbClr val="00148C"/>
                </a:solidFill>
              </a:rPr>
              <a:t>Corona Trend (EDA + Prediction) MVP</a:t>
            </a:r>
            <a:endParaRPr lang="en-US" sz="3600" b="1" dirty="0">
              <a:solidFill>
                <a:srgbClr val="00148C"/>
              </a:solidFill>
            </a:endParaRPr>
          </a:p>
          <a:p>
            <a:r>
              <a:rPr lang="en-US" sz="2400" i="1" dirty="0">
                <a:solidFill>
                  <a:srgbClr val="00148C"/>
                </a:solidFill>
              </a:rPr>
              <a:t>Using deep-learning methods (LSTM)</a:t>
            </a:r>
          </a:p>
        </p:txBody>
      </p:sp>
    </p:spTree>
    <p:extLst>
      <p:ext uri="{BB962C8B-B14F-4D97-AF65-F5344CB8AC3E}">
        <p14:creationId xmlns:p14="http://schemas.microsoft.com/office/powerpoint/2010/main" val="13307833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96585B9-3DF4-416B-98BA-9408AAE3C0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6"/>
            <a:ext cx="7302691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View – cumulative incidence till 04/04/2020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871371" y="2777947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Middlesex the largest county by population has the highest number of case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Suffolk county is very densely populated and has a lot of cases despite its lower population counts</a:t>
            </a:r>
          </a:p>
        </p:txBody>
      </p:sp>
    </p:spTree>
    <p:extLst>
      <p:ext uri="{BB962C8B-B14F-4D97-AF65-F5344CB8AC3E}">
        <p14:creationId xmlns:p14="http://schemas.microsoft.com/office/powerpoint/2010/main" val="1280195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CF8F34F-89BC-4BE9-A895-C8C6CE0CD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6"/>
            <a:ext cx="7302691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View – population size in 04/04/2020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871371" y="2777947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Middlesex the largest county by population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Worcester county has nearly ½ the size of population as in Worcester</a:t>
            </a:r>
          </a:p>
        </p:txBody>
      </p:sp>
    </p:spTree>
    <p:extLst>
      <p:ext uri="{BB962C8B-B14F-4D97-AF65-F5344CB8AC3E}">
        <p14:creationId xmlns:p14="http://schemas.microsoft.com/office/powerpoint/2010/main" val="3610103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571A9C9-4FD9-4FEC-B290-C334406A56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6"/>
            <a:ext cx="7302691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rat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871371" y="2777947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Middlesex the largest county by population has the highest number of case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As of 04/04/2020, Middlesex county still is in its growth phase. Growth does not seem to be abating</a:t>
            </a:r>
          </a:p>
        </p:txBody>
      </p:sp>
    </p:spTree>
    <p:extLst>
      <p:ext uri="{BB962C8B-B14F-4D97-AF65-F5344CB8AC3E}">
        <p14:creationId xmlns:p14="http://schemas.microsoft.com/office/powerpoint/2010/main" val="2405979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C8B7301-BFCF-40BA-955B-93702FBF2F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6"/>
            <a:ext cx="7302691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growth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918996" y="3349447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Day over day growth is still high confirming the previous hypothesis that Middlesex county is still in its growth phase.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Social distancing measures need to continue</a:t>
            </a:r>
          </a:p>
        </p:txBody>
      </p:sp>
    </p:spTree>
    <p:extLst>
      <p:ext uri="{BB962C8B-B14F-4D97-AF65-F5344CB8AC3E}">
        <p14:creationId xmlns:p14="http://schemas.microsoft.com/office/powerpoint/2010/main" val="21130609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04F0B7E-24E9-42CD-86A7-8454D63D3F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6"/>
            <a:ext cx="7302691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growth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528471" y="4406722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New incidences are growing around 18% day over day</a:t>
            </a:r>
          </a:p>
        </p:txBody>
      </p:sp>
    </p:spTree>
    <p:extLst>
      <p:ext uri="{BB962C8B-B14F-4D97-AF65-F5344CB8AC3E}">
        <p14:creationId xmlns:p14="http://schemas.microsoft.com/office/powerpoint/2010/main" val="22200733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02D7C5E-12B7-4795-B0D0-9C4B5776A1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6"/>
            <a:ext cx="7302691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growth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233196" y="3177997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Only about 0.14% of population has tested positive. The numbers are relatively small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/>
            <a:r>
              <a:rPr lang="en-US" sz="1400" i="1" dirty="0"/>
              <a:t>Should lock-down measures be relaxed sooner rather than later, the new case incidence can significantly spike up</a:t>
            </a:r>
          </a:p>
        </p:txBody>
      </p:sp>
    </p:spTree>
    <p:extLst>
      <p:ext uri="{BB962C8B-B14F-4D97-AF65-F5344CB8AC3E}">
        <p14:creationId xmlns:p14="http://schemas.microsoft.com/office/powerpoint/2010/main" val="42404591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6A858D2-8665-4011-91A5-FD0D617C09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1" y="894605"/>
            <a:ext cx="7302690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wn trend – incidence growth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6804696" y="3063240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Deaths rate is also climbing</a:t>
            </a:r>
          </a:p>
        </p:txBody>
      </p:sp>
    </p:spTree>
    <p:extLst>
      <p:ext uri="{BB962C8B-B14F-4D97-AF65-F5344CB8AC3E}">
        <p14:creationId xmlns:p14="http://schemas.microsoft.com/office/powerpoint/2010/main" val="17006479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uild MVP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236546" name="Picture 2">
            <a:extLst>
              <a:ext uri="{FF2B5EF4-FFF2-40B4-BE49-F238E27FC236}">
                <a16:creationId xmlns:a16="http://schemas.microsoft.com/office/drawing/2014/main" id="{678F862F-F985-470F-8D43-72E144C3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454" y="3125320"/>
            <a:ext cx="607359" cy="607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772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2B2E1C-9F01-4C2C-9347-D1B8CB49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16ED63-D811-46E4-A028-94FDD24C8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gorithm development steps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5BD099F5-139E-4DAD-A204-9665FF063B64}"/>
              </a:ext>
            </a:extLst>
          </p:cNvPr>
          <p:cNvSpPr/>
          <p:nvPr/>
        </p:nvSpPr>
        <p:spPr>
          <a:xfrm rot="10800000">
            <a:off x="11277145" y="0"/>
            <a:ext cx="914400" cy="914400"/>
          </a:xfrm>
          <a:prstGeom prst="rtTriangle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AE0571AF-13FB-48F9-AEAC-D58AF26E6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1695" y="104072"/>
            <a:ext cx="319373" cy="319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E146FA8-6925-4C3F-B5A8-6A54BA285620}"/>
              </a:ext>
            </a:extLst>
          </p:cNvPr>
          <p:cNvSpPr txBox="1"/>
          <p:nvPr/>
        </p:nvSpPr>
        <p:spPr>
          <a:xfrm>
            <a:off x="283183" y="820058"/>
            <a:ext cx="11403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Generating forecasts @ scale involves getting through 18 steps including … 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DDD95359-8D7D-42F5-AD99-A383655D8801}"/>
              </a:ext>
            </a:extLst>
          </p:cNvPr>
          <p:cNvSpPr/>
          <p:nvPr/>
        </p:nvSpPr>
        <p:spPr>
          <a:xfrm>
            <a:off x="341316" y="1150644"/>
            <a:ext cx="2347186" cy="457200"/>
          </a:xfrm>
          <a:prstGeom prst="homePlate">
            <a:avLst>
              <a:gd name="adj" fmla="val 27215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Prepare</a:t>
            </a:r>
          </a:p>
          <a:p>
            <a:pPr algn="ctr"/>
            <a:r>
              <a:rPr lang="en-US" sz="1100" dirty="0"/>
              <a:t>data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2F605A28-F37E-4DB8-A6D9-0B41BFE0A8E9}"/>
              </a:ext>
            </a:extLst>
          </p:cNvPr>
          <p:cNvSpPr/>
          <p:nvPr/>
        </p:nvSpPr>
        <p:spPr>
          <a:xfrm>
            <a:off x="2635624" y="1150643"/>
            <a:ext cx="7358603" cy="457200"/>
          </a:xfrm>
          <a:prstGeom prst="chevron">
            <a:avLst>
              <a:gd name="adj" fmla="val 25949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Build MVP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using 1 algorithms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6DE4CBD0-8756-4C6C-8792-2C0560F9DF45}"/>
              </a:ext>
            </a:extLst>
          </p:cNvPr>
          <p:cNvSpPr/>
          <p:nvPr/>
        </p:nvSpPr>
        <p:spPr>
          <a:xfrm>
            <a:off x="9994227" y="1150643"/>
            <a:ext cx="1767468" cy="457200"/>
          </a:xfrm>
          <a:prstGeom prst="chevron">
            <a:avLst>
              <a:gd name="adj" fmla="val 25949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Sav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Results</a:t>
            </a:r>
          </a:p>
        </p:txBody>
      </p:sp>
      <p:sp>
        <p:nvSpPr>
          <p:cNvPr id="3" name="Flowchart: Terminator 2">
            <a:extLst>
              <a:ext uri="{FF2B5EF4-FFF2-40B4-BE49-F238E27FC236}">
                <a16:creationId xmlns:a16="http://schemas.microsoft.com/office/drawing/2014/main" id="{23B0FD60-4A32-4FC6-8425-4A76CB6D8AE5}"/>
              </a:ext>
            </a:extLst>
          </p:cNvPr>
          <p:cNvSpPr/>
          <p:nvPr/>
        </p:nvSpPr>
        <p:spPr>
          <a:xfrm>
            <a:off x="872893" y="1751769"/>
            <a:ext cx="1087718" cy="457200"/>
          </a:xfrm>
          <a:prstGeom prst="flowChartTerminator">
            <a:avLst/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" name="Flowchart: Predefined Process 4">
            <a:extLst>
              <a:ext uri="{FF2B5EF4-FFF2-40B4-BE49-F238E27FC236}">
                <a16:creationId xmlns:a16="http://schemas.microsoft.com/office/drawing/2014/main" id="{44420691-683D-4695-A6FC-4A31479AA983}"/>
              </a:ext>
            </a:extLst>
          </p:cNvPr>
          <p:cNvSpPr/>
          <p:nvPr/>
        </p:nvSpPr>
        <p:spPr>
          <a:xfrm>
            <a:off x="341316" y="2492438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Git Clon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82C492F-0898-4E1A-9E67-C38AE88CB3A2}"/>
              </a:ext>
            </a:extLst>
          </p:cNvPr>
          <p:cNvCxnSpPr>
            <a:cxnSpLocks/>
            <a:stCxn id="3" idx="2"/>
            <a:endCxn id="5" idx="0"/>
          </p:cNvCxnSpPr>
          <p:nvPr/>
        </p:nvCxnSpPr>
        <p:spPr>
          <a:xfrm>
            <a:off x="1416752" y="2208969"/>
            <a:ext cx="0" cy="28346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lowchart: Predefined Process 18">
            <a:extLst>
              <a:ext uri="{FF2B5EF4-FFF2-40B4-BE49-F238E27FC236}">
                <a16:creationId xmlns:a16="http://schemas.microsoft.com/office/drawing/2014/main" id="{C5687D22-3F5B-45FE-A1BA-478D4BA180ED}"/>
              </a:ext>
            </a:extLst>
          </p:cNvPr>
          <p:cNvSpPr/>
          <p:nvPr/>
        </p:nvSpPr>
        <p:spPr>
          <a:xfrm>
            <a:off x="341316" y="3474150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Load </a:t>
            </a:r>
          </a:p>
          <a:p>
            <a:pPr algn="ctr"/>
            <a:r>
              <a:rPr lang="en-US" sz="1200" dirty="0">
                <a:solidFill>
                  <a:srgbClr val="00148C"/>
                </a:solidFill>
              </a:rPr>
              <a:t>Data into DB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0EC52EF-28FA-4CA7-B299-75F4CED2D67D}"/>
              </a:ext>
            </a:extLst>
          </p:cNvPr>
          <p:cNvCxnSpPr>
            <a:cxnSpLocks/>
            <a:stCxn id="5" idx="2"/>
            <a:endCxn id="19" idx="0"/>
          </p:cNvCxnSpPr>
          <p:nvPr/>
        </p:nvCxnSpPr>
        <p:spPr>
          <a:xfrm>
            <a:off x="1416752" y="3143873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owchart: Predefined Process 34">
            <a:extLst>
              <a:ext uri="{FF2B5EF4-FFF2-40B4-BE49-F238E27FC236}">
                <a16:creationId xmlns:a16="http://schemas.microsoft.com/office/drawing/2014/main" id="{EDA35CF8-4EE6-4DEA-8106-7DF2CF1EE589}"/>
              </a:ext>
            </a:extLst>
          </p:cNvPr>
          <p:cNvSpPr/>
          <p:nvPr/>
        </p:nvSpPr>
        <p:spPr>
          <a:xfrm>
            <a:off x="341316" y="4455862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Merge datasets &amp; prepare Modeling Data Set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E16D49F-3F87-4367-A071-BE9E8D98381A}"/>
              </a:ext>
            </a:extLst>
          </p:cNvPr>
          <p:cNvCxnSpPr>
            <a:cxnSpLocks/>
            <a:stCxn id="19" idx="2"/>
            <a:endCxn id="35" idx="0"/>
          </p:cNvCxnSpPr>
          <p:nvPr/>
        </p:nvCxnSpPr>
        <p:spPr>
          <a:xfrm>
            <a:off x="1416752" y="4125585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lowchart: Predefined Process 39">
            <a:extLst>
              <a:ext uri="{FF2B5EF4-FFF2-40B4-BE49-F238E27FC236}">
                <a16:creationId xmlns:a16="http://schemas.microsoft.com/office/drawing/2014/main" id="{0F3F1D1F-5436-469D-B6E3-647DF7587C47}"/>
              </a:ext>
            </a:extLst>
          </p:cNvPr>
          <p:cNvSpPr/>
          <p:nvPr/>
        </p:nvSpPr>
        <p:spPr>
          <a:xfrm>
            <a:off x="341316" y="5437574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Visualizations &amp; Explore Data in Dash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BB8D4A9-0EB6-4FB8-849C-BDD950CDD30B}"/>
              </a:ext>
            </a:extLst>
          </p:cNvPr>
          <p:cNvCxnSpPr>
            <a:cxnSpLocks/>
            <a:stCxn id="35" idx="2"/>
            <a:endCxn id="40" idx="0"/>
          </p:cNvCxnSpPr>
          <p:nvPr/>
        </p:nvCxnSpPr>
        <p:spPr>
          <a:xfrm>
            <a:off x="1416752" y="5107297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Flowchart: Predefined Process 49">
            <a:extLst>
              <a:ext uri="{FF2B5EF4-FFF2-40B4-BE49-F238E27FC236}">
                <a16:creationId xmlns:a16="http://schemas.microsoft.com/office/drawing/2014/main" id="{D40D0D93-BD09-4FE4-A68F-FF33934C66CE}"/>
              </a:ext>
            </a:extLst>
          </p:cNvPr>
          <p:cNvSpPr/>
          <p:nvPr/>
        </p:nvSpPr>
        <p:spPr>
          <a:xfrm>
            <a:off x="2743856" y="2491156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</a:t>
            </a:r>
          </a:p>
          <a:p>
            <a:pPr algn="ctr"/>
            <a:r>
              <a:rPr lang="en-US" sz="1200" dirty="0">
                <a:solidFill>
                  <a:srgbClr val="00148C"/>
                </a:solidFill>
              </a:rPr>
              <a:t>Configuration File</a:t>
            </a:r>
          </a:p>
        </p:txBody>
      </p: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35EC9305-6FBD-4AEC-A193-67971D3B6A62}"/>
              </a:ext>
            </a:extLst>
          </p:cNvPr>
          <p:cNvCxnSpPr>
            <a:cxnSpLocks/>
            <a:stCxn id="40" idx="2"/>
            <a:endCxn id="50" idx="0"/>
          </p:cNvCxnSpPr>
          <p:nvPr/>
        </p:nvCxnSpPr>
        <p:spPr>
          <a:xfrm rot="5400000" flipH="1" flipV="1">
            <a:off x="819095" y="3088813"/>
            <a:ext cx="3597853" cy="2402540"/>
          </a:xfrm>
          <a:prstGeom prst="bentConnector5">
            <a:avLst>
              <a:gd name="adj1" fmla="val -6354"/>
              <a:gd name="adj2" fmla="val 50000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lowchart: Predefined Process 54">
            <a:extLst>
              <a:ext uri="{FF2B5EF4-FFF2-40B4-BE49-F238E27FC236}">
                <a16:creationId xmlns:a16="http://schemas.microsoft.com/office/drawing/2014/main" id="{A285C7C1-9D8E-4A2D-9CF2-2B7059CAC989}"/>
              </a:ext>
            </a:extLst>
          </p:cNvPr>
          <p:cNvSpPr/>
          <p:nvPr/>
        </p:nvSpPr>
        <p:spPr>
          <a:xfrm>
            <a:off x="2738699" y="3474150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Utility Libraries</a:t>
            </a:r>
          </a:p>
          <a:p>
            <a:pPr algn="ctr"/>
            <a:r>
              <a:rPr lang="en-US" sz="1200" dirty="0">
                <a:solidFill>
                  <a:srgbClr val="00148C"/>
                </a:solidFill>
              </a:rPr>
              <a:t>(IO, Data)</a:t>
            </a:r>
          </a:p>
        </p:txBody>
      </p:sp>
      <p:sp>
        <p:nvSpPr>
          <p:cNvPr id="56" name="Flowchart: Predefined Process 55">
            <a:extLst>
              <a:ext uri="{FF2B5EF4-FFF2-40B4-BE49-F238E27FC236}">
                <a16:creationId xmlns:a16="http://schemas.microsoft.com/office/drawing/2014/main" id="{B3551E09-9CF6-45E9-A752-7D08E21F0CF8}"/>
              </a:ext>
            </a:extLst>
          </p:cNvPr>
          <p:cNvSpPr/>
          <p:nvPr/>
        </p:nvSpPr>
        <p:spPr>
          <a:xfrm>
            <a:off x="2738699" y="4455862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Parametrize forecast generation</a:t>
            </a:r>
          </a:p>
        </p:txBody>
      </p:sp>
      <p:sp>
        <p:nvSpPr>
          <p:cNvPr id="57" name="Flowchart: Predefined Process 56">
            <a:extLst>
              <a:ext uri="{FF2B5EF4-FFF2-40B4-BE49-F238E27FC236}">
                <a16:creationId xmlns:a16="http://schemas.microsoft.com/office/drawing/2014/main" id="{2BFCF618-B875-4141-A9F7-E5F7632B9DEE}"/>
              </a:ext>
            </a:extLst>
          </p:cNvPr>
          <p:cNvSpPr/>
          <p:nvPr/>
        </p:nvSpPr>
        <p:spPr>
          <a:xfrm>
            <a:off x="2745167" y="5437574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wrapper code</a:t>
            </a:r>
          </a:p>
        </p:txBody>
      </p:sp>
      <p:sp>
        <p:nvSpPr>
          <p:cNvPr id="58" name="Flowchart: Predefined Process 57">
            <a:extLst>
              <a:ext uri="{FF2B5EF4-FFF2-40B4-BE49-F238E27FC236}">
                <a16:creationId xmlns:a16="http://schemas.microsoft.com/office/drawing/2014/main" id="{4C318185-B17D-4679-A95A-4D372B910A0C}"/>
              </a:ext>
            </a:extLst>
          </p:cNvPr>
          <p:cNvSpPr/>
          <p:nvPr/>
        </p:nvSpPr>
        <p:spPr>
          <a:xfrm>
            <a:off x="5146396" y="2491156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Prophet Forecast Module</a:t>
            </a:r>
          </a:p>
        </p:txBody>
      </p:sp>
      <p:sp>
        <p:nvSpPr>
          <p:cNvPr id="59" name="Flowchart: Predefined Process 58">
            <a:extLst>
              <a:ext uri="{FF2B5EF4-FFF2-40B4-BE49-F238E27FC236}">
                <a16:creationId xmlns:a16="http://schemas.microsoft.com/office/drawing/2014/main" id="{1B50ED9C-01BC-465C-BBA1-1CC9724DA155}"/>
              </a:ext>
            </a:extLst>
          </p:cNvPr>
          <p:cNvSpPr/>
          <p:nvPr/>
        </p:nvSpPr>
        <p:spPr>
          <a:xfrm>
            <a:off x="5146396" y="3478708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Holt-Winter Forecast Module</a:t>
            </a:r>
          </a:p>
        </p:txBody>
      </p:sp>
      <p:sp>
        <p:nvSpPr>
          <p:cNvPr id="60" name="Flowchart: Predefined Process 59">
            <a:extLst>
              <a:ext uri="{FF2B5EF4-FFF2-40B4-BE49-F238E27FC236}">
                <a16:creationId xmlns:a16="http://schemas.microsoft.com/office/drawing/2014/main" id="{FD0883AB-0C3A-41E0-A140-1FB154918187}"/>
              </a:ext>
            </a:extLst>
          </p:cNvPr>
          <p:cNvSpPr/>
          <p:nvPr/>
        </p:nvSpPr>
        <p:spPr>
          <a:xfrm>
            <a:off x="5146396" y="4466260"/>
            <a:ext cx="2150872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LSTM</a:t>
            </a:r>
          </a:p>
        </p:txBody>
      </p:sp>
      <p:sp>
        <p:nvSpPr>
          <p:cNvPr id="61" name="Flowchart: Predefined Process 60">
            <a:extLst>
              <a:ext uri="{FF2B5EF4-FFF2-40B4-BE49-F238E27FC236}">
                <a16:creationId xmlns:a16="http://schemas.microsoft.com/office/drawing/2014/main" id="{85CA374B-7C8B-4BA9-B6C3-8C005F86C83A}"/>
              </a:ext>
            </a:extLst>
          </p:cNvPr>
          <p:cNvSpPr/>
          <p:nvPr/>
        </p:nvSpPr>
        <p:spPr>
          <a:xfrm>
            <a:off x="5141238" y="5437573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Canonical Model to Consume Results</a:t>
            </a:r>
          </a:p>
        </p:txBody>
      </p:sp>
      <p:sp>
        <p:nvSpPr>
          <p:cNvPr id="62" name="Flowchart: Predefined Process 61">
            <a:extLst>
              <a:ext uri="{FF2B5EF4-FFF2-40B4-BE49-F238E27FC236}">
                <a16:creationId xmlns:a16="http://schemas.microsoft.com/office/drawing/2014/main" id="{62E1A8E4-DAFF-417F-BE0C-549B7CE3C795}"/>
              </a:ext>
            </a:extLst>
          </p:cNvPr>
          <p:cNvSpPr/>
          <p:nvPr/>
        </p:nvSpPr>
        <p:spPr>
          <a:xfrm>
            <a:off x="7548936" y="2491155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Outlier handling Module</a:t>
            </a:r>
          </a:p>
        </p:txBody>
      </p:sp>
      <p:sp>
        <p:nvSpPr>
          <p:cNvPr id="63" name="Flowchart: Predefined Process 62">
            <a:extLst>
              <a:ext uri="{FF2B5EF4-FFF2-40B4-BE49-F238E27FC236}">
                <a16:creationId xmlns:a16="http://schemas.microsoft.com/office/drawing/2014/main" id="{57CFBCB5-DFC5-4733-8C4A-2E614DF31D84}"/>
              </a:ext>
            </a:extLst>
          </p:cNvPr>
          <p:cNvSpPr/>
          <p:nvPr/>
        </p:nvSpPr>
        <p:spPr>
          <a:xfrm>
            <a:off x="7554093" y="3474149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Result Visualization Module</a:t>
            </a:r>
          </a:p>
        </p:txBody>
      </p:sp>
      <p:sp>
        <p:nvSpPr>
          <p:cNvPr id="64" name="Flowchart: Predefined Process 63">
            <a:extLst>
              <a:ext uri="{FF2B5EF4-FFF2-40B4-BE49-F238E27FC236}">
                <a16:creationId xmlns:a16="http://schemas.microsoft.com/office/drawing/2014/main" id="{2667B897-64AE-4799-84F9-29B9B7493A96}"/>
              </a:ext>
            </a:extLst>
          </p:cNvPr>
          <p:cNvSpPr/>
          <p:nvPr/>
        </p:nvSpPr>
        <p:spPr>
          <a:xfrm>
            <a:off x="7551514" y="4455861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Result Ensemble Module</a:t>
            </a:r>
          </a:p>
        </p:txBody>
      </p:sp>
      <p:sp>
        <p:nvSpPr>
          <p:cNvPr id="65" name="Flowchart: Predefined Process 64">
            <a:extLst>
              <a:ext uri="{FF2B5EF4-FFF2-40B4-BE49-F238E27FC236}">
                <a16:creationId xmlns:a16="http://schemas.microsoft.com/office/drawing/2014/main" id="{9E27B37F-7600-4337-AA98-0F6ED61B42DD}"/>
              </a:ext>
            </a:extLst>
          </p:cNvPr>
          <p:cNvSpPr/>
          <p:nvPr/>
        </p:nvSpPr>
        <p:spPr>
          <a:xfrm>
            <a:off x="9951478" y="2491154"/>
            <a:ext cx="1735300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Saving of Results to DB</a:t>
            </a:r>
          </a:p>
        </p:txBody>
      </p:sp>
      <p:sp>
        <p:nvSpPr>
          <p:cNvPr id="66" name="Flowchart: Predefined Process 65">
            <a:extLst>
              <a:ext uri="{FF2B5EF4-FFF2-40B4-BE49-F238E27FC236}">
                <a16:creationId xmlns:a16="http://schemas.microsoft.com/office/drawing/2014/main" id="{52E8D151-43F0-4936-B4A4-74C1B9E54D59}"/>
              </a:ext>
            </a:extLst>
          </p:cNvPr>
          <p:cNvSpPr/>
          <p:nvPr/>
        </p:nvSpPr>
        <p:spPr>
          <a:xfrm>
            <a:off x="9951478" y="3474148"/>
            <a:ext cx="1735300" cy="651435"/>
          </a:xfrm>
          <a:prstGeom prst="flowChartPredefined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Saving of Results to Excel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F05F4A2-D77A-4586-BB1B-71B7CCEC8778}"/>
              </a:ext>
            </a:extLst>
          </p:cNvPr>
          <p:cNvCxnSpPr>
            <a:cxnSpLocks/>
            <a:stCxn id="50" idx="2"/>
            <a:endCxn id="55" idx="0"/>
          </p:cNvCxnSpPr>
          <p:nvPr/>
        </p:nvCxnSpPr>
        <p:spPr>
          <a:xfrm flipH="1">
            <a:off x="3814135" y="3142591"/>
            <a:ext cx="5157" cy="33155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B40EB781-AB9D-43CA-A4CC-7FA8E6F095FD}"/>
              </a:ext>
            </a:extLst>
          </p:cNvPr>
          <p:cNvCxnSpPr>
            <a:cxnSpLocks/>
            <a:stCxn id="55" idx="2"/>
            <a:endCxn id="56" idx="0"/>
          </p:cNvCxnSpPr>
          <p:nvPr/>
        </p:nvCxnSpPr>
        <p:spPr>
          <a:xfrm>
            <a:off x="3814135" y="4125585"/>
            <a:ext cx="0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48107CED-3C96-4FD8-8992-6522F5A0A6C4}"/>
              </a:ext>
            </a:extLst>
          </p:cNvPr>
          <p:cNvCxnSpPr>
            <a:cxnSpLocks/>
            <a:stCxn id="56" idx="2"/>
            <a:endCxn id="57" idx="0"/>
          </p:cNvCxnSpPr>
          <p:nvPr/>
        </p:nvCxnSpPr>
        <p:spPr>
          <a:xfrm>
            <a:off x="3814135" y="5107297"/>
            <a:ext cx="6468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4CA3D816-28B1-4B23-BA07-8F98498820F4}"/>
              </a:ext>
            </a:extLst>
          </p:cNvPr>
          <p:cNvCxnSpPr>
            <a:cxnSpLocks/>
            <a:stCxn id="58" idx="2"/>
            <a:endCxn id="59" idx="0"/>
          </p:cNvCxnSpPr>
          <p:nvPr/>
        </p:nvCxnSpPr>
        <p:spPr>
          <a:xfrm>
            <a:off x="6221832" y="3142591"/>
            <a:ext cx="0" cy="33611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EDB8228-E971-4B69-9776-1CDDF3F8CCDD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>
          <a:xfrm>
            <a:off x="6221832" y="4130143"/>
            <a:ext cx="0" cy="33611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2FE2537-4F59-499A-B5A8-27F5C2ACB968}"/>
              </a:ext>
            </a:extLst>
          </p:cNvPr>
          <p:cNvCxnSpPr>
            <a:cxnSpLocks/>
            <a:stCxn id="60" idx="2"/>
            <a:endCxn id="61" idx="0"/>
          </p:cNvCxnSpPr>
          <p:nvPr/>
        </p:nvCxnSpPr>
        <p:spPr>
          <a:xfrm flipH="1">
            <a:off x="6216674" y="5117695"/>
            <a:ext cx="5158" cy="31987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08B4E4C6-A0CB-4744-9062-F261BB624325}"/>
              </a:ext>
            </a:extLst>
          </p:cNvPr>
          <p:cNvCxnSpPr>
            <a:cxnSpLocks/>
            <a:stCxn id="57" idx="2"/>
            <a:endCxn id="58" idx="0"/>
          </p:cNvCxnSpPr>
          <p:nvPr/>
        </p:nvCxnSpPr>
        <p:spPr>
          <a:xfrm rot="5400000" flipH="1" flipV="1">
            <a:off x="3222290" y="3089468"/>
            <a:ext cx="3597853" cy="2401229"/>
          </a:xfrm>
          <a:prstGeom prst="bentConnector5">
            <a:avLst>
              <a:gd name="adj1" fmla="val -6354"/>
              <a:gd name="adj2" fmla="val 50000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2CD743CF-CD64-4D57-A7A7-AC9EBCE5B6DB}"/>
              </a:ext>
            </a:extLst>
          </p:cNvPr>
          <p:cNvCxnSpPr>
            <a:cxnSpLocks/>
            <a:stCxn id="61" idx="2"/>
            <a:endCxn id="62" idx="0"/>
          </p:cNvCxnSpPr>
          <p:nvPr/>
        </p:nvCxnSpPr>
        <p:spPr>
          <a:xfrm rot="5400000" flipH="1" flipV="1">
            <a:off x="5621596" y="3086233"/>
            <a:ext cx="3597853" cy="2407698"/>
          </a:xfrm>
          <a:prstGeom prst="bentConnector5">
            <a:avLst>
              <a:gd name="adj1" fmla="val -6354"/>
              <a:gd name="adj2" fmla="val 50000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4C1DDBE1-8B1F-4B54-9CDB-05C2D85B7CC4}"/>
              </a:ext>
            </a:extLst>
          </p:cNvPr>
          <p:cNvCxnSpPr>
            <a:cxnSpLocks/>
            <a:stCxn id="62" idx="2"/>
            <a:endCxn id="63" idx="0"/>
          </p:cNvCxnSpPr>
          <p:nvPr/>
        </p:nvCxnSpPr>
        <p:spPr>
          <a:xfrm>
            <a:off x="8624372" y="3142590"/>
            <a:ext cx="5157" cy="33155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FF71FF7-A0D5-4EF6-9E66-C2FD0DEDA40A}"/>
              </a:ext>
            </a:extLst>
          </p:cNvPr>
          <p:cNvCxnSpPr>
            <a:cxnSpLocks/>
            <a:stCxn id="63" idx="2"/>
            <a:endCxn id="64" idx="0"/>
          </p:cNvCxnSpPr>
          <p:nvPr/>
        </p:nvCxnSpPr>
        <p:spPr>
          <a:xfrm flipH="1">
            <a:off x="8626950" y="4125584"/>
            <a:ext cx="2579" cy="33027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58E44A1-4199-42A9-911A-ECA10714CD45}"/>
              </a:ext>
            </a:extLst>
          </p:cNvPr>
          <p:cNvCxnSpPr>
            <a:cxnSpLocks/>
            <a:stCxn id="127" idx="2"/>
            <a:endCxn id="65" idx="0"/>
          </p:cNvCxnSpPr>
          <p:nvPr/>
        </p:nvCxnSpPr>
        <p:spPr>
          <a:xfrm rot="5400000" flipH="1" flipV="1">
            <a:off x="7923467" y="3193347"/>
            <a:ext cx="3597853" cy="2193467"/>
          </a:xfrm>
          <a:prstGeom prst="bentConnector5">
            <a:avLst>
              <a:gd name="adj1" fmla="val -6354"/>
              <a:gd name="adj2" fmla="val 54736"/>
              <a:gd name="adj3" fmla="val 106354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2D9CB994-ACAC-49FA-8850-2D2E24029B00}"/>
              </a:ext>
            </a:extLst>
          </p:cNvPr>
          <p:cNvCxnSpPr>
            <a:cxnSpLocks/>
            <a:stCxn id="65" idx="2"/>
            <a:endCxn id="66" idx="0"/>
          </p:cNvCxnSpPr>
          <p:nvPr/>
        </p:nvCxnSpPr>
        <p:spPr>
          <a:xfrm>
            <a:off x="10819128" y="3142589"/>
            <a:ext cx="0" cy="33155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Flowchart: Terminator 121">
            <a:extLst>
              <a:ext uri="{FF2B5EF4-FFF2-40B4-BE49-F238E27FC236}">
                <a16:creationId xmlns:a16="http://schemas.microsoft.com/office/drawing/2014/main" id="{34A1503E-3A9B-497B-A556-415F896CD4CC}"/>
              </a:ext>
            </a:extLst>
          </p:cNvPr>
          <p:cNvSpPr/>
          <p:nvPr/>
        </p:nvSpPr>
        <p:spPr>
          <a:xfrm>
            <a:off x="10275270" y="4551694"/>
            <a:ext cx="1087718" cy="457200"/>
          </a:xfrm>
          <a:prstGeom prst="flowChartTerminator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d</a:t>
            </a:r>
          </a:p>
        </p:txBody>
      </p: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EB741DD9-6C50-4534-999A-B22B6E5E7195}"/>
              </a:ext>
            </a:extLst>
          </p:cNvPr>
          <p:cNvCxnSpPr>
            <a:cxnSpLocks/>
            <a:stCxn id="66" idx="2"/>
            <a:endCxn id="122" idx="0"/>
          </p:cNvCxnSpPr>
          <p:nvPr/>
        </p:nvCxnSpPr>
        <p:spPr>
          <a:xfrm>
            <a:off x="10819128" y="4125583"/>
            <a:ext cx="1" cy="42611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Flowchart: Predefined Process 126">
            <a:extLst>
              <a:ext uri="{FF2B5EF4-FFF2-40B4-BE49-F238E27FC236}">
                <a16:creationId xmlns:a16="http://schemas.microsoft.com/office/drawing/2014/main" id="{9F241F9D-28CF-4E27-89D2-2FC757B84F78}"/>
              </a:ext>
            </a:extLst>
          </p:cNvPr>
          <p:cNvSpPr/>
          <p:nvPr/>
        </p:nvSpPr>
        <p:spPr>
          <a:xfrm>
            <a:off x="7550225" y="5437572"/>
            <a:ext cx="2150872" cy="651435"/>
          </a:xfrm>
          <a:prstGeom prst="flowChartPredefinedProcess">
            <a:avLst/>
          </a:prstGeom>
          <a:solidFill>
            <a:schemeClr val="bg1">
              <a:lumMod val="75000"/>
            </a:schemeClr>
          </a:solidFill>
          <a:ln>
            <a:solidFill>
              <a:srgbClr val="00148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148C"/>
                </a:solidFill>
              </a:rPr>
              <a:t>Build Metrics Reporting Module</a:t>
            </a: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35EBE62D-CC89-40BE-B322-3B405127F964}"/>
              </a:ext>
            </a:extLst>
          </p:cNvPr>
          <p:cNvCxnSpPr>
            <a:cxnSpLocks/>
            <a:stCxn id="64" idx="2"/>
            <a:endCxn id="127" idx="0"/>
          </p:cNvCxnSpPr>
          <p:nvPr/>
        </p:nvCxnSpPr>
        <p:spPr>
          <a:xfrm flipH="1">
            <a:off x="8625661" y="5107296"/>
            <a:ext cx="1289" cy="330276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EC3B5DAA-8141-4A3D-A06F-91356EBD676E}"/>
              </a:ext>
            </a:extLst>
          </p:cNvPr>
          <p:cNvSpPr/>
          <p:nvPr/>
        </p:nvSpPr>
        <p:spPr>
          <a:xfrm>
            <a:off x="209779" y="6488858"/>
            <a:ext cx="374073" cy="2719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D37B6EC-B294-4662-950F-45252E1778A1}"/>
              </a:ext>
            </a:extLst>
          </p:cNvPr>
          <p:cNvSpPr/>
          <p:nvPr/>
        </p:nvSpPr>
        <p:spPr>
          <a:xfrm>
            <a:off x="2118115" y="6488857"/>
            <a:ext cx="374073" cy="27199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13EE3F-364D-4239-B6CC-DAC7EEE42278}"/>
              </a:ext>
            </a:extLst>
          </p:cNvPr>
          <p:cNvSpPr txBox="1"/>
          <p:nvPr/>
        </p:nvSpPr>
        <p:spPr>
          <a:xfrm>
            <a:off x="583852" y="6440187"/>
            <a:ext cx="11512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print #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3BFF3DD-08A9-44B8-B5B4-5757F386CF4C}"/>
              </a:ext>
            </a:extLst>
          </p:cNvPr>
          <p:cNvSpPr txBox="1"/>
          <p:nvPr/>
        </p:nvSpPr>
        <p:spPr>
          <a:xfrm>
            <a:off x="2521197" y="6440187"/>
            <a:ext cx="1124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print 1+</a:t>
            </a:r>
          </a:p>
        </p:txBody>
      </p:sp>
    </p:spTree>
    <p:extLst>
      <p:ext uri="{BB962C8B-B14F-4D97-AF65-F5344CB8AC3E}">
        <p14:creationId xmlns:p14="http://schemas.microsoft.com/office/powerpoint/2010/main" val="18775254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nhance Forecasting Proces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238594" name="Picture 2">
            <a:extLst>
              <a:ext uri="{FF2B5EF4-FFF2-40B4-BE49-F238E27FC236}">
                <a16:creationId xmlns:a16="http://schemas.microsoft.com/office/drawing/2014/main" id="{1A14C060-BEED-4DC2-9F4B-08F673341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060" y="3161926"/>
            <a:ext cx="534147" cy="53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1208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BC0A-BA81-4B04-B374-AA21C78AA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E60A8A2-9C25-42F3-80E2-E3D03D82E681}"/>
              </a:ext>
            </a:extLst>
          </p:cNvPr>
          <p:cNvGrpSpPr/>
          <p:nvPr/>
        </p:nvGrpSpPr>
        <p:grpSpPr>
          <a:xfrm>
            <a:off x="2194134" y="2075427"/>
            <a:ext cx="7803732" cy="1828800"/>
            <a:chOff x="1862782" y="2075427"/>
            <a:chExt cx="7803732" cy="1828800"/>
          </a:xfrm>
          <a:solidFill>
            <a:srgbClr val="00148C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F1A742-7299-42B2-8904-2357E24F6A68}"/>
                </a:ext>
              </a:extLst>
            </p:cNvPr>
            <p:cNvSpPr/>
            <p:nvPr/>
          </p:nvSpPr>
          <p:spPr>
            <a:xfrm>
              <a:off x="3111644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49B275D-3261-400A-9BDA-13C21E90DC25}"/>
                </a:ext>
              </a:extLst>
            </p:cNvPr>
            <p:cNvSpPr/>
            <p:nvPr/>
          </p:nvSpPr>
          <p:spPr>
            <a:xfrm>
              <a:off x="6588852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51B07B0-D806-4E53-ADBB-429E1697B811}"/>
                </a:ext>
              </a:extLst>
            </p:cNvPr>
            <p:cNvCxnSpPr>
              <a:cxnSpLocks/>
            </p:cNvCxnSpPr>
            <p:nvPr/>
          </p:nvCxnSpPr>
          <p:spPr>
            <a:xfrm>
              <a:off x="1862782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D982A8F-EF7F-4328-9FB9-2056BA6F3062}"/>
                </a:ext>
              </a:extLst>
            </p:cNvPr>
            <p:cNvCxnSpPr>
              <a:cxnSpLocks/>
            </p:cNvCxnSpPr>
            <p:nvPr/>
          </p:nvCxnSpPr>
          <p:spPr>
            <a:xfrm>
              <a:off x="5339990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B0BB2DF-3C18-44FA-9EE2-A1D390BF6AEB}"/>
                </a:ext>
              </a:extLst>
            </p:cNvPr>
            <p:cNvCxnSpPr>
              <a:cxnSpLocks/>
            </p:cNvCxnSpPr>
            <p:nvPr/>
          </p:nvCxnSpPr>
          <p:spPr>
            <a:xfrm>
              <a:off x="8817198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346E7EE-6B91-40D0-99AD-3B417F7E30E8}"/>
              </a:ext>
            </a:extLst>
          </p:cNvPr>
          <p:cNvSpPr/>
          <p:nvPr/>
        </p:nvSpPr>
        <p:spPr>
          <a:xfrm>
            <a:off x="3670878" y="4029642"/>
            <a:ext cx="13388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Summ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992FC3-9BDC-4107-A127-619CF6A88CB5}"/>
              </a:ext>
            </a:extLst>
          </p:cNvPr>
          <p:cNvSpPr/>
          <p:nvPr/>
        </p:nvSpPr>
        <p:spPr>
          <a:xfrm>
            <a:off x="7331907" y="4029642"/>
            <a:ext cx="10054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Details</a:t>
            </a:r>
          </a:p>
        </p:txBody>
      </p:sp>
      <p:pic>
        <p:nvPicPr>
          <p:cNvPr id="232450" name="Picture 2">
            <a:extLst>
              <a:ext uri="{FF2B5EF4-FFF2-40B4-BE49-F238E27FC236}">
                <a16:creationId xmlns:a16="http://schemas.microsoft.com/office/drawing/2014/main" id="{695E52CC-E8CE-4D32-86A8-0708A49551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882" y="2390312"/>
            <a:ext cx="1199028" cy="1199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452" name="Picture 4">
            <a:extLst>
              <a:ext uri="{FF2B5EF4-FFF2-40B4-BE49-F238E27FC236}">
                <a16:creationId xmlns:a16="http://schemas.microsoft.com/office/drawing/2014/main" id="{0E10F28E-94BC-4B32-8839-E6CD49533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700" y="2560643"/>
            <a:ext cx="858366" cy="858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3345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2B2E1C-9F01-4C2C-9347-D1B8CB49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16ED63-D811-46E4-A028-94FDD24C8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riching components – data &amp; algorithms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5BD099F5-139E-4DAD-A204-9665FF063B64}"/>
              </a:ext>
            </a:extLst>
          </p:cNvPr>
          <p:cNvSpPr/>
          <p:nvPr/>
        </p:nvSpPr>
        <p:spPr>
          <a:xfrm rot="10800000">
            <a:off x="11277145" y="0"/>
            <a:ext cx="914400" cy="914400"/>
          </a:xfrm>
          <a:prstGeom prst="rtTriangle">
            <a:avLst/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A06D20BA-07BD-40A0-A6C4-467AFE17E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4345" y="34365"/>
            <a:ext cx="374074" cy="374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CA3AA13-D457-46C5-BE03-5384FB612D98}"/>
              </a:ext>
            </a:extLst>
          </p:cNvPr>
          <p:cNvSpPr/>
          <p:nvPr/>
        </p:nvSpPr>
        <p:spPr>
          <a:xfrm>
            <a:off x="247880" y="1097057"/>
            <a:ext cx="49648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/>
              <a:t>Data enrichment can occur through the inclusion of data sources such as … </a:t>
            </a:r>
            <a:endParaRPr lang="en-US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CD1CD7-FD89-45A8-883C-9133C47C2651}"/>
              </a:ext>
            </a:extLst>
          </p:cNvPr>
          <p:cNvSpPr/>
          <p:nvPr/>
        </p:nvSpPr>
        <p:spPr>
          <a:xfrm>
            <a:off x="6322290" y="1119122"/>
            <a:ext cx="57727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/>
              <a:t>… and algorithm enrichment can occur by evaluating output from algorithms including … </a:t>
            </a:r>
            <a:endParaRPr lang="en-US" sz="1000" dirty="0"/>
          </a:p>
        </p:txBody>
      </p:sp>
      <p:graphicFrame>
        <p:nvGraphicFramePr>
          <p:cNvPr id="12" name="Table 13">
            <a:extLst>
              <a:ext uri="{FF2B5EF4-FFF2-40B4-BE49-F238E27FC236}">
                <a16:creationId xmlns:a16="http://schemas.microsoft.com/office/drawing/2014/main" id="{C24503CD-3190-4B60-80C3-62E22C894E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103072"/>
              </p:ext>
            </p:extLst>
          </p:nvPr>
        </p:nvGraphicFramePr>
        <p:xfrm>
          <a:off x="328706" y="1391383"/>
          <a:ext cx="5384800" cy="5116526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63048">
                  <a:extLst>
                    <a:ext uri="{9D8B030D-6E8A-4147-A177-3AD203B41FA5}">
                      <a16:colId xmlns:a16="http://schemas.microsoft.com/office/drawing/2014/main" val="2320996968"/>
                    </a:ext>
                  </a:extLst>
                </a:gridCol>
                <a:gridCol w="1680416">
                  <a:extLst>
                    <a:ext uri="{9D8B030D-6E8A-4147-A177-3AD203B41FA5}">
                      <a16:colId xmlns:a16="http://schemas.microsoft.com/office/drawing/2014/main" val="2754353645"/>
                    </a:ext>
                  </a:extLst>
                </a:gridCol>
                <a:gridCol w="3241336">
                  <a:extLst>
                    <a:ext uri="{9D8B030D-6E8A-4147-A177-3AD203B41FA5}">
                      <a16:colId xmlns:a16="http://schemas.microsoft.com/office/drawing/2014/main" val="1755433446"/>
                    </a:ext>
                  </a:extLst>
                </a:gridCol>
              </a:tblGrid>
              <a:tr h="701815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#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Data Typ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Exampl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80635"/>
                  </a:ext>
                </a:extLst>
              </a:tr>
              <a:tr h="1520599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1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Population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Size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Age distributions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Find similar towns around the globe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567737"/>
                  </a:ext>
                </a:extLst>
              </a:tr>
              <a:tr h="289411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Other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1313" indent="-341313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Lock-down period start</a:t>
                      </a:r>
                    </a:p>
                    <a:p>
                      <a:pPr marL="341313" indent="-341313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Degree of lock-down</a:t>
                      </a:r>
                    </a:p>
                    <a:p>
                      <a:pPr marL="341313" indent="-341313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Exposed individuals and Susceptible Individual movements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729929"/>
                  </a:ext>
                </a:extLst>
              </a:tr>
            </a:tbl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D2F2CEBC-A4AE-4747-8FB3-DC9F33DC7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486737"/>
              </p:ext>
            </p:extLst>
          </p:nvPr>
        </p:nvGraphicFramePr>
        <p:xfrm>
          <a:off x="6406777" y="1409668"/>
          <a:ext cx="5384800" cy="500657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63048">
                  <a:extLst>
                    <a:ext uri="{9D8B030D-6E8A-4147-A177-3AD203B41FA5}">
                      <a16:colId xmlns:a16="http://schemas.microsoft.com/office/drawing/2014/main" val="2320996968"/>
                    </a:ext>
                  </a:extLst>
                </a:gridCol>
                <a:gridCol w="1680416">
                  <a:extLst>
                    <a:ext uri="{9D8B030D-6E8A-4147-A177-3AD203B41FA5}">
                      <a16:colId xmlns:a16="http://schemas.microsoft.com/office/drawing/2014/main" val="2754353645"/>
                    </a:ext>
                  </a:extLst>
                </a:gridCol>
                <a:gridCol w="3241336">
                  <a:extLst>
                    <a:ext uri="{9D8B030D-6E8A-4147-A177-3AD203B41FA5}">
                      <a16:colId xmlns:a16="http://schemas.microsoft.com/office/drawing/2014/main" val="1755433446"/>
                    </a:ext>
                  </a:extLst>
                </a:gridCol>
              </a:tblGrid>
              <a:tr h="413511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#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Algo. Typ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Exampl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80635"/>
                  </a:ext>
                </a:extLst>
              </a:tr>
              <a:tr h="2651112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1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Explainable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Naïve (Moving average)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Multi-variate regression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Decision tree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Exponential Smoothing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ARIMA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ARIMAX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567737"/>
                  </a:ext>
                </a:extLst>
              </a:tr>
              <a:tr h="194195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rgbClr val="00148C"/>
                          </a:solidFill>
                        </a:rPr>
                        <a:t>Blackbox (with SHAP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Multi-variate scenarios (with exogenous variables)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rgbClr val="00148C"/>
                          </a:solidFill>
                        </a:rPr>
                        <a:t>Random Forest</a:t>
                      </a:r>
                    </a:p>
                    <a:p>
                      <a:pPr marL="342900" indent="-342900" algn="l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 err="1">
                          <a:solidFill>
                            <a:srgbClr val="00148C"/>
                          </a:solidFill>
                        </a:rPr>
                        <a:t>Adaboost</a:t>
                      </a:r>
                      <a:endParaRPr lang="en-US" sz="1200" b="0" dirty="0">
                        <a:solidFill>
                          <a:srgbClr val="00148C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653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21085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x – Files in pack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238594" name="Picture 2">
            <a:extLst>
              <a:ext uri="{FF2B5EF4-FFF2-40B4-BE49-F238E27FC236}">
                <a16:creationId xmlns:a16="http://schemas.microsoft.com/office/drawing/2014/main" id="{1A14C060-BEED-4DC2-9F4B-08F673341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5060" y="3161926"/>
            <a:ext cx="534147" cy="53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54833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9914A8-638C-410C-B391-F6EEAC7B9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649D0D-18DA-4991-A11C-2D9070CD2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s in the package</a:t>
            </a:r>
          </a:p>
        </p:txBody>
      </p:sp>
      <p:graphicFrame>
        <p:nvGraphicFramePr>
          <p:cNvPr id="5" name="Table 13">
            <a:extLst>
              <a:ext uri="{FF2B5EF4-FFF2-40B4-BE49-F238E27FC236}">
                <a16:creationId xmlns:a16="http://schemas.microsoft.com/office/drawing/2014/main" id="{729F0998-A9C8-46DA-8D93-B534973DA6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1775492"/>
              </p:ext>
            </p:extLst>
          </p:nvPr>
        </p:nvGraphicFramePr>
        <p:xfrm>
          <a:off x="346841" y="907026"/>
          <a:ext cx="11422119" cy="522199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329876">
                  <a:extLst>
                    <a:ext uri="{9D8B030D-6E8A-4147-A177-3AD203B41FA5}">
                      <a16:colId xmlns:a16="http://schemas.microsoft.com/office/drawing/2014/main" val="2320996968"/>
                    </a:ext>
                  </a:extLst>
                </a:gridCol>
                <a:gridCol w="2149623">
                  <a:extLst>
                    <a:ext uri="{9D8B030D-6E8A-4147-A177-3AD203B41FA5}">
                      <a16:colId xmlns:a16="http://schemas.microsoft.com/office/drawing/2014/main" val="2754353645"/>
                    </a:ext>
                  </a:extLst>
                </a:gridCol>
                <a:gridCol w="3173440">
                  <a:extLst>
                    <a:ext uri="{9D8B030D-6E8A-4147-A177-3AD203B41FA5}">
                      <a16:colId xmlns:a16="http://schemas.microsoft.com/office/drawing/2014/main" val="3026520106"/>
                    </a:ext>
                  </a:extLst>
                </a:gridCol>
                <a:gridCol w="5769180">
                  <a:extLst>
                    <a:ext uri="{9D8B030D-6E8A-4147-A177-3AD203B41FA5}">
                      <a16:colId xmlns:a16="http://schemas.microsoft.com/office/drawing/2014/main" val="1755433446"/>
                    </a:ext>
                  </a:extLst>
                </a:gridCol>
              </a:tblGrid>
              <a:tr h="306919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148C"/>
                          </a:solidFill>
                        </a:rPr>
                        <a:t>#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148C"/>
                          </a:solidFill>
                        </a:rPr>
                        <a:t>Component 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148C"/>
                          </a:solidFill>
                        </a:rPr>
                        <a:t>File(s)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148C"/>
                          </a:solidFill>
                        </a:rPr>
                        <a:t>Purpose</a:t>
                      </a:r>
                    </a:p>
                  </a:txBody>
                  <a:tcPr anchor="b">
                    <a:lnB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880635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1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Git Clone &amp; Daily Pull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ime_series_covid19_confirmed_us.csv</a:t>
                      </a:r>
                    </a:p>
                    <a:p>
                      <a:pPr marL="342900" marR="0" lvl="0" indent="-34290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ime_series_covid19_deaths_us.csv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u="none" dirty="0">
                          <a:solidFill>
                            <a:schemeClr val="tx1"/>
                          </a:solidFill>
                        </a:rPr>
                        <a:t>Raw data (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github.com/CSSEGISandData/COVID-19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0014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567737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ata Prep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1_parse_covid_data.ipynb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2_create_modeling_data_set.ipynb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3_build_lstm_model.ipynb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Load data into SQL (for posterity)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Prepare data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Leverage output from data &amp; model in Dash / Other viz. tool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653986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ata (&amp; Result)</a:t>
                      </a:r>
                    </a:p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Explora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4_app.py (Launches a dashboard on the Web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Understand the various dimensions of data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Use dimensions to infer patterns and improve forecasting algorithm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729929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Outpu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ovid19_2020_04_05.csv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ovid_ms_data.xlsx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e modeling dataset for data prepared till 04/05/2020</a:t>
                      </a:r>
                    </a:p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e output of LSTM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52133"/>
                  </a:ext>
                </a:extLst>
              </a:tr>
              <a:tr h="971246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iscuss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05_corona_trend_mvp_2020_04_05_v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This deck to summarize insights for broader discuss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9747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47026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AE0788-B236-4F14-BF92-C9BA09505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62FB5B-74CA-4521-BF2F-242F1E793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2293EB3-C084-46F0-98AC-8B7E8894FF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64711"/>
              </p:ext>
            </p:extLst>
          </p:nvPr>
        </p:nvGraphicFramePr>
        <p:xfrm>
          <a:off x="322729" y="1163935"/>
          <a:ext cx="8504518" cy="47854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7012">
                  <a:extLst>
                    <a:ext uri="{9D8B030D-6E8A-4147-A177-3AD203B41FA5}">
                      <a16:colId xmlns:a16="http://schemas.microsoft.com/office/drawing/2014/main" val="1793440646"/>
                    </a:ext>
                  </a:extLst>
                </a:gridCol>
                <a:gridCol w="1775012">
                  <a:extLst>
                    <a:ext uri="{9D8B030D-6E8A-4147-A177-3AD203B41FA5}">
                      <a16:colId xmlns:a16="http://schemas.microsoft.com/office/drawing/2014/main" val="2924912583"/>
                    </a:ext>
                  </a:extLst>
                </a:gridCol>
                <a:gridCol w="5462494">
                  <a:extLst>
                    <a:ext uri="{9D8B030D-6E8A-4147-A177-3AD203B41FA5}">
                      <a16:colId xmlns:a16="http://schemas.microsoft.com/office/drawing/2014/main" val="976718324"/>
                    </a:ext>
                  </a:extLst>
                </a:gridCol>
              </a:tblGrid>
              <a:tr h="1595149">
                <a:tc>
                  <a:txBody>
                    <a:bodyPr/>
                    <a:lstStyle/>
                    <a:p>
                      <a:pPr algn="r"/>
                      <a:endParaRPr lang="en-US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/>
                        <a:t>Objectiv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dirty="0"/>
                        <a:t>Build forecasts for COVID19 disease progression using Deep Learning Method (LSTM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559026"/>
                  </a:ext>
                </a:extLst>
              </a:tr>
              <a:tr h="1595149">
                <a:tc>
                  <a:txBody>
                    <a:bodyPr/>
                    <a:lstStyle/>
                    <a:p>
                      <a:pPr algn="r"/>
                      <a:endParaRPr lang="en-US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/>
                        <a:t>Complic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dirty="0"/>
                        <a:t>3253 trends in 58 states (one trend per town)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dirty="0"/>
                        <a:t>74 days of data (2020/01/22 – 2020/04/04)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US" sz="1200" dirty="0"/>
                        <a:t>Uni-variate (temporal) data for forecas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9008183"/>
                  </a:ext>
                </a:extLst>
              </a:tr>
              <a:tr h="1595149">
                <a:tc>
                  <a:txBody>
                    <a:bodyPr/>
                    <a:lstStyle/>
                    <a:p>
                      <a:pPr algn="r"/>
                      <a:endParaRPr lang="en-US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/>
                        <a:t>Approac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endParaRPr lang="en-US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3445763"/>
                  </a:ext>
                </a:extLst>
              </a:tr>
            </a:tbl>
          </a:graphicData>
        </a:graphic>
      </p:graphicFrame>
      <p:pic>
        <p:nvPicPr>
          <p:cNvPr id="233474" name="Picture 2">
            <a:extLst>
              <a:ext uri="{FF2B5EF4-FFF2-40B4-BE49-F238E27FC236}">
                <a16:creationId xmlns:a16="http://schemas.microsoft.com/office/drawing/2014/main" id="{285C7AA2-141D-471B-8677-CF53AC42B0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1" y="1364877"/>
            <a:ext cx="1127311" cy="1127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3476" name="Picture 4">
            <a:extLst>
              <a:ext uri="{FF2B5EF4-FFF2-40B4-BE49-F238E27FC236}">
                <a16:creationId xmlns:a16="http://schemas.microsoft.com/office/drawing/2014/main" id="{F1E6F4CF-896F-4774-9F3C-EFB4669ED3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12" y="3028839"/>
            <a:ext cx="904688" cy="904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3478" name="Picture 6">
            <a:extLst>
              <a:ext uri="{FF2B5EF4-FFF2-40B4-BE49-F238E27FC236}">
                <a16:creationId xmlns:a16="http://schemas.microsoft.com/office/drawing/2014/main" id="{148B6261-298B-48D0-84FB-F79D62800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55" y="4774810"/>
            <a:ext cx="962603" cy="96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rrow: Pentagon 4">
            <a:extLst>
              <a:ext uri="{FF2B5EF4-FFF2-40B4-BE49-F238E27FC236}">
                <a16:creationId xmlns:a16="http://schemas.microsoft.com/office/drawing/2014/main" id="{CEE7F1FB-E40F-4D2E-A103-49D09030ED08}"/>
              </a:ext>
            </a:extLst>
          </p:cNvPr>
          <p:cNvSpPr/>
          <p:nvPr/>
        </p:nvSpPr>
        <p:spPr>
          <a:xfrm>
            <a:off x="3401269" y="4665642"/>
            <a:ext cx="1709271" cy="472141"/>
          </a:xfrm>
          <a:prstGeom prst="homePlate">
            <a:avLst>
              <a:gd name="adj" fmla="val 27215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nderstand</a:t>
            </a:r>
          </a:p>
          <a:p>
            <a:pPr algn="ctr"/>
            <a:r>
              <a:rPr lang="en-US" sz="1100" dirty="0"/>
              <a:t>data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4014CBC-656C-4D5B-BD1D-27074D935F82}"/>
              </a:ext>
            </a:extLst>
          </p:cNvPr>
          <p:cNvSpPr/>
          <p:nvPr/>
        </p:nvSpPr>
        <p:spPr>
          <a:xfrm>
            <a:off x="5038164" y="4665642"/>
            <a:ext cx="1984187" cy="472141"/>
          </a:xfrm>
          <a:prstGeom prst="chevron">
            <a:avLst>
              <a:gd name="adj" fmla="val 25949"/>
            </a:avLst>
          </a:prstGeom>
          <a:solidFill>
            <a:srgbClr val="001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Build MVP</a:t>
            </a: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using 1 algorithm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EC111735-6115-4CD7-983F-A0B3BB5A856D}"/>
              </a:ext>
            </a:extLst>
          </p:cNvPr>
          <p:cNvSpPr/>
          <p:nvPr/>
        </p:nvSpPr>
        <p:spPr>
          <a:xfrm>
            <a:off x="6976212" y="4665642"/>
            <a:ext cx="1709271" cy="472141"/>
          </a:xfrm>
          <a:prstGeom prst="chevron">
            <a:avLst>
              <a:gd name="adj" fmla="val 25949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hance</a:t>
            </a:r>
          </a:p>
          <a:p>
            <a:pPr algn="ctr"/>
            <a:r>
              <a:rPr lang="en-US" sz="1050" dirty="0">
                <a:solidFill>
                  <a:schemeClr val="bg1">
                    <a:lumMod val="50000"/>
                  </a:schemeClr>
                </a:solidFill>
              </a:rPr>
              <a:t>Forecasting Proc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3E780D-00B0-44FC-B692-4BE35AF223AA}"/>
              </a:ext>
            </a:extLst>
          </p:cNvPr>
          <p:cNvSpPr txBox="1"/>
          <p:nvPr/>
        </p:nvSpPr>
        <p:spPr>
          <a:xfrm>
            <a:off x="3307317" y="5149692"/>
            <a:ext cx="168303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Create Modeling Dataset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Distributions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Temporal trends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Build Dash framework to visualize da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B06B41-1943-4C9D-B412-597C66ABA4F4}"/>
              </a:ext>
            </a:extLst>
          </p:cNvPr>
          <p:cNvSpPr txBox="1"/>
          <p:nvPr/>
        </p:nvSpPr>
        <p:spPr>
          <a:xfrm>
            <a:off x="4963091" y="5149692"/>
            <a:ext cx="20293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dirty="0"/>
              <a:t>LSTM on 1 tre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B51ABA-6042-4337-9C13-4E88F35FFB9A}"/>
              </a:ext>
            </a:extLst>
          </p:cNvPr>
          <p:cNvSpPr txBox="1"/>
          <p:nvPr/>
        </p:nvSpPr>
        <p:spPr>
          <a:xfrm>
            <a:off x="6897857" y="5149692"/>
            <a:ext cx="1709271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chemeClr val="bg1">
                    <a:lumMod val="65000"/>
                  </a:schemeClr>
                </a:solidFill>
              </a:rPr>
              <a:t>Data enrichment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  (exogenous data)</a:t>
            </a:r>
          </a:p>
          <a:p>
            <a:pPr marL="227013" indent="-227013"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chemeClr val="bg1">
                    <a:lumMod val="65000"/>
                  </a:schemeClr>
                </a:solidFill>
              </a:rPr>
              <a:t>Algorithm enrich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06D2DC-FB56-4CD8-8B79-C77098DA5AC9}"/>
              </a:ext>
            </a:extLst>
          </p:cNvPr>
          <p:cNvCxnSpPr>
            <a:cxnSpLocks/>
          </p:cNvCxnSpPr>
          <p:nvPr/>
        </p:nvCxnSpPr>
        <p:spPr>
          <a:xfrm>
            <a:off x="3401269" y="4496187"/>
            <a:ext cx="3441790" cy="0"/>
          </a:xfrm>
          <a:prstGeom prst="line">
            <a:avLst/>
          </a:prstGeom>
          <a:ln>
            <a:solidFill>
              <a:srgbClr val="00148C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FA911DA9-968E-461B-855B-D8A2B15A4FF8}"/>
              </a:ext>
            </a:extLst>
          </p:cNvPr>
          <p:cNvSpPr txBox="1"/>
          <p:nvPr/>
        </p:nvSpPr>
        <p:spPr>
          <a:xfrm>
            <a:off x="4403597" y="4365382"/>
            <a:ext cx="1664238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rgbClr val="00148C"/>
                </a:solidFill>
              </a:rPr>
              <a:t>  Current Deliverable 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E4428A1-B820-4011-A63B-80E0322BC313}"/>
              </a:ext>
            </a:extLst>
          </p:cNvPr>
          <p:cNvCxnSpPr>
            <a:cxnSpLocks/>
          </p:cNvCxnSpPr>
          <p:nvPr/>
        </p:nvCxnSpPr>
        <p:spPr>
          <a:xfrm>
            <a:off x="7022351" y="4496187"/>
            <a:ext cx="1551306" cy="0"/>
          </a:xfrm>
          <a:prstGeom prst="line">
            <a:avLst/>
          </a:prstGeom>
          <a:ln>
            <a:solidFill>
              <a:srgbClr val="00148C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69A6279-D465-493C-A507-8982B3B53D4E}"/>
              </a:ext>
            </a:extLst>
          </p:cNvPr>
          <p:cNvSpPr txBox="1"/>
          <p:nvPr/>
        </p:nvSpPr>
        <p:spPr>
          <a:xfrm>
            <a:off x="7333579" y="4365382"/>
            <a:ext cx="1061509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65000"/>
                  </a:schemeClr>
                </a:solidFill>
              </a:rPr>
              <a:t>  Next Phase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CB5807-D8BE-4D81-B187-9DC49860EA91}"/>
              </a:ext>
            </a:extLst>
          </p:cNvPr>
          <p:cNvSpPr txBox="1"/>
          <p:nvPr/>
        </p:nvSpPr>
        <p:spPr>
          <a:xfrm>
            <a:off x="247880" y="827953"/>
            <a:ext cx="8083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To better understand disease progression, we’ve developed a robust (and extensible) MVP forecasting engine using Deep Learning Method (LSTM)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C1E1FC8-298A-46D3-B4DC-4183A13E5EDD}"/>
              </a:ext>
            </a:extLst>
          </p:cNvPr>
          <p:cNvSpPr txBox="1"/>
          <p:nvPr/>
        </p:nvSpPr>
        <p:spPr>
          <a:xfrm>
            <a:off x="8943095" y="758235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 … with the following insight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5746D3E-80D1-41FB-805E-0EB9F4D58A41}"/>
              </a:ext>
            </a:extLst>
          </p:cNvPr>
          <p:cNvSpPr txBox="1"/>
          <p:nvPr/>
        </p:nvSpPr>
        <p:spPr>
          <a:xfrm>
            <a:off x="9017659" y="4365382"/>
            <a:ext cx="29236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Both"/>
            </a:pPr>
            <a:r>
              <a:rPr lang="en-US" sz="1000" b="1" i="1" dirty="0"/>
              <a:t>Accuracy = </a:t>
            </a:r>
            <a:r>
              <a:rPr lang="en-US" sz="1000" i="1" dirty="0"/>
              <a:t>1 – abs(RMSE / Actual Volume)</a:t>
            </a:r>
            <a:endParaRPr lang="en-US" sz="1000" b="1" i="1" dirty="0"/>
          </a:p>
          <a:p>
            <a:endParaRPr lang="en-US" sz="1000" b="1" i="1" dirty="0"/>
          </a:p>
          <a:p>
            <a:pPr marL="227013" lvl="1"/>
            <a:r>
              <a:rPr lang="en-US" sz="1000" b="1" i="1" dirty="0"/>
              <a:t>RMSE</a:t>
            </a:r>
            <a:r>
              <a:rPr lang="en-US" sz="1000" i="1" dirty="0"/>
              <a:t> = Root Mean Square Error, a measure of how good the forecasts are in out-of-time hold-out days (1 week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50F85B-7ED8-4352-8F85-13F931A1056B}"/>
              </a:ext>
            </a:extLst>
          </p:cNvPr>
          <p:cNvSpPr txBox="1"/>
          <p:nvPr/>
        </p:nvSpPr>
        <p:spPr>
          <a:xfrm>
            <a:off x="9060330" y="2078401"/>
            <a:ext cx="29236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Accuracy using LSTM on trend for Middlesex county using 7 hold-out days = </a:t>
            </a:r>
            <a:r>
              <a:rPr lang="en-US" sz="1400" b="1" i="1" dirty="0"/>
              <a:t>86%</a:t>
            </a:r>
          </a:p>
          <a:p>
            <a:pPr marL="342900" indent="-342900">
              <a:buAutoNum type="arabicParenR"/>
            </a:pPr>
            <a:endParaRPr lang="en-US" sz="1400" b="1" i="1" dirty="0"/>
          </a:p>
          <a:p>
            <a:pPr marL="342900" indent="-342900">
              <a:buAutoNum type="arabicParenR"/>
            </a:pPr>
            <a:r>
              <a:rPr lang="en-US" sz="1400" i="1" dirty="0"/>
              <a:t>The lower accuracies are in the recent days, where the trend seems to be getting better</a:t>
            </a:r>
          </a:p>
          <a:p>
            <a:pPr marL="342900" indent="-342900">
              <a:buAutoNum type="arabicParenR"/>
            </a:pP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2456561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EA199C-3BA2-4C6D-ADA9-21E995E49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F1D4F4-BF83-41D7-8839-59A435CAF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ual trend vs. predicted using LST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CA67F9-3EA6-4585-8E87-5DFF3EAA1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811" y="1018123"/>
            <a:ext cx="9784928" cy="521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424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BC0A-BA81-4B04-B374-AA21C78AA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E60A8A2-9C25-42F3-80E2-E3D03D82E681}"/>
              </a:ext>
            </a:extLst>
          </p:cNvPr>
          <p:cNvGrpSpPr/>
          <p:nvPr/>
        </p:nvGrpSpPr>
        <p:grpSpPr>
          <a:xfrm>
            <a:off x="2194134" y="2075427"/>
            <a:ext cx="7803732" cy="1828800"/>
            <a:chOff x="1862782" y="2075427"/>
            <a:chExt cx="7803732" cy="1828800"/>
          </a:xfrm>
          <a:solidFill>
            <a:srgbClr val="00148C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BF1A742-7299-42B2-8904-2357E24F6A68}"/>
                </a:ext>
              </a:extLst>
            </p:cNvPr>
            <p:cNvSpPr/>
            <p:nvPr/>
          </p:nvSpPr>
          <p:spPr>
            <a:xfrm>
              <a:off x="3111644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49B275D-3261-400A-9BDA-13C21E90DC25}"/>
                </a:ext>
              </a:extLst>
            </p:cNvPr>
            <p:cNvSpPr/>
            <p:nvPr/>
          </p:nvSpPr>
          <p:spPr>
            <a:xfrm>
              <a:off x="6588852" y="2075427"/>
              <a:ext cx="1828800" cy="1828800"/>
            </a:xfrm>
            <a:prstGeom prst="rect">
              <a:avLst/>
            </a:prstGeom>
            <a:grpFill/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51B07B0-D806-4E53-ADBB-429E1697B811}"/>
                </a:ext>
              </a:extLst>
            </p:cNvPr>
            <p:cNvCxnSpPr>
              <a:cxnSpLocks/>
            </p:cNvCxnSpPr>
            <p:nvPr/>
          </p:nvCxnSpPr>
          <p:spPr>
            <a:xfrm>
              <a:off x="1862782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D982A8F-EF7F-4328-9FB9-2056BA6F3062}"/>
                </a:ext>
              </a:extLst>
            </p:cNvPr>
            <p:cNvCxnSpPr>
              <a:cxnSpLocks/>
            </p:cNvCxnSpPr>
            <p:nvPr/>
          </p:nvCxnSpPr>
          <p:spPr>
            <a:xfrm>
              <a:off x="5339990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B0BB2DF-3C18-44FA-9EE2-A1D390BF6AEB}"/>
                </a:ext>
              </a:extLst>
            </p:cNvPr>
            <p:cNvCxnSpPr>
              <a:cxnSpLocks/>
            </p:cNvCxnSpPr>
            <p:nvPr/>
          </p:nvCxnSpPr>
          <p:spPr>
            <a:xfrm>
              <a:off x="8817198" y="2989827"/>
              <a:ext cx="849316" cy="0"/>
            </a:xfrm>
            <a:prstGeom prst="line">
              <a:avLst/>
            </a:prstGeom>
            <a:grpFill/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346E7EE-6B91-40D0-99AD-3B417F7E30E8}"/>
              </a:ext>
            </a:extLst>
          </p:cNvPr>
          <p:cNvSpPr/>
          <p:nvPr/>
        </p:nvSpPr>
        <p:spPr>
          <a:xfrm>
            <a:off x="3670878" y="4029642"/>
            <a:ext cx="13388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Summar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992FC3-9BDC-4107-A127-619CF6A88CB5}"/>
              </a:ext>
            </a:extLst>
          </p:cNvPr>
          <p:cNvSpPr/>
          <p:nvPr/>
        </p:nvSpPr>
        <p:spPr>
          <a:xfrm>
            <a:off x="7331907" y="4029642"/>
            <a:ext cx="10054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/>
              <a:t>Details</a:t>
            </a:r>
          </a:p>
        </p:txBody>
      </p:sp>
      <p:pic>
        <p:nvPicPr>
          <p:cNvPr id="232450" name="Picture 2">
            <a:extLst>
              <a:ext uri="{FF2B5EF4-FFF2-40B4-BE49-F238E27FC236}">
                <a16:creationId xmlns:a16="http://schemas.microsoft.com/office/drawing/2014/main" id="{695E52CC-E8CE-4D32-86A8-0708A49551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882" y="2390312"/>
            <a:ext cx="1199028" cy="1199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452" name="Picture 4">
            <a:extLst>
              <a:ext uri="{FF2B5EF4-FFF2-40B4-BE49-F238E27FC236}">
                <a16:creationId xmlns:a16="http://schemas.microsoft.com/office/drawing/2014/main" id="{0E10F28E-94BC-4B32-8839-E6CD49533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700" y="2560643"/>
            <a:ext cx="858366" cy="858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9729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0B2F4-F11A-4A52-9321-DFD177D743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derstand Dat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A9B341-18AC-4E9A-855E-FDC701DC7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34498" name="Picture 2">
            <a:extLst>
              <a:ext uri="{FF2B5EF4-FFF2-40B4-BE49-F238E27FC236}">
                <a16:creationId xmlns:a16="http://schemas.microsoft.com/office/drawing/2014/main" id="{5C63082E-953A-47E8-865B-F043D26D0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083" y="3095438"/>
            <a:ext cx="667124" cy="66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5752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CAC43B28-7E23-4A5C-93FE-EDD73BFB0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2" y="900003"/>
            <a:ext cx="7302690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layout – top 20 high risk town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1876097" y="106417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When this dashboard is launched from the command line, one can view the results in a web-browser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US-level view (only looking at the high risk towns) looking at the grain of a town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State-level view (only looking at the high risk towns) looking at the grain of a town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own-level view to understand detailed trend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Various measures (population size, incidence, increase in incidence over the last day, deaths)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towns ranked ordered by descending risk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A distribution of measu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B31073-24FF-4E14-967C-121982EA104D}"/>
              </a:ext>
            </a:extLst>
          </p:cNvPr>
          <p:cNvSpPr/>
          <p:nvPr/>
        </p:nvSpPr>
        <p:spPr>
          <a:xfrm>
            <a:off x="2241857" y="18833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A07F59-9C20-4F66-BAEC-E45761FA8C95}"/>
              </a:ext>
            </a:extLst>
          </p:cNvPr>
          <p:cNvSpPr/>
          <p:nvPr/>
        </p:nvSpPr>
        <p:spPr>
          <a:xfrm>
            <a:off x="4586949" y="18833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722F98C-F563-455C-90F9-53010012A5A0}"/>
              </a:ext>
            </a:extLst>
          </p:cNvPr>
          <p:cNvSpPr/>
          <p:nvPr/>
        </p:nvSpPr>
        <p:spPr>
          <a:xfrm>
            <a:off x="6873533" y="18833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0A33EB0-0AC0-4E46-921B-B29AF333E689}"/>
              </a:ext>
            </a:extLst>
          </p:cNvPr>
          <p:cNvSpPr/>
          <p:nvPr/>
        </p:nvSpPr>
        <p:spPr>
          <a:xfrm>
            <a:off x="247880" y="2445296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79DE500-531F-4A3E-8589-6428F817E078}"/>
              </a:ext>
            </a:extLst>
          </p:cNvPr>
          <p:cNvSpPr/>
          <p:nvPr/>
        </p:nvSpPr>
        <p:spPr>
          <a:xfrm>
            <a:off x="613640" y="35216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3419667-8A51-4EE8-9C7F-5F2D6643CA02}"/>
              </a:ext>
            </a:extLst>
          </p:cNvPr>
          <p:cNvSpPr/>
          <p:nvPr/>
        </p:nvSpPr>
        <p:spPr>
          <a:xfrm>
            <a:off x="3032990" y="333874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5254034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88EC39-B4E9-4968-B61B-D4B8BFB5FD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2" y="900002"/>
            <a:ext cx="7302690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 View – increase in incidence from previous day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1876097" y="106417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When this dashboard is launched from the command line, one can view the results in a web-browser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US-level view (only looking at the high risk towns) looking at the grain of a town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State-level view (only looking at the high risk towns) looking at the grain of a town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own-level view to understand detailed trends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Various measures (population size, incidence, increase in incidence over the last day, deaths)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towns ranked ordered by descending risk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A distribution of measur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B31073-24FF-4E14-967C-121982EA104D}"/>
              </a:ext>
            </a:extLst>
          </p:cNvPr>
          <p:cNvSpPr/>
          <p:nvPr/>
        </p:nvSpPr>
        <p:spPr>
          <a:xfrm>
            <a:off x="2241857" y="18833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A07F59-9C20-4F66-BAEC-E45761FA8C95}"/>
              </a:ext>
            </a:extLst>
          </p:cNvPr>
          <p:cNvSpPr/>
          <p:nvPr/>
        </p:nvSpPr>
        <p:spPr>
          <a:xfrm>
            <a:off x="4586949" y="18833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722F98C-F563-455C-90F9-53010012A5A0}"/>
              </a:ext>
            </a:extLst>
          </p:cNvPr>
          <p:cNvSpPr/>
          <p:nvPr/>
        </p:nvSpPr>
        <p:spPr>
          <a:xfrm>
            <a:off x="6873533" y="18833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0A33EB0-0AC0-4E46-921B-B29AF333E689}"/>
              </a:ext>
            </a:extLst>
          </p:cNvPr>
          <p:cNvSpPr/>
          <p:nvPr/>
        </p:nvSpPr>
        <p:spPr>
          <a:xfrm>
            <a:off x="247880" y="2445296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79DE500-531F-4A3E-8589-6428F817E078}"/>
              </a:ext>
            </a:extLst>
          </p:cNvPr>
          <p:cNvSpPr/>
          <p:nvPr/>
        </p:nvSpPr>
        <p:spPr>
          <a:xfrm>
            <a:off x="613640" y="35216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3419667-8A51-4EE8-9C7F-5F2D6643CA02}"/>
              </a:ext>
            </a:extLst>
          </p:cNvPr>
          <p:cNvSpPr/>
          <p:nvPr/>
        </p:nvSpPr>
        <p:spPr>
          <a:xfrm>
            <a:off x="3032990" y="333874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501621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12DFFB0-4717-43A1-9960-2A3EBE7252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642" y="894606"/>
            <a:ext cx="7302690" cy="54548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785A5-1BF3-4E46-9670-4696E129C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7BDFE5-4F2C-4659-B0B0-6D85B79DD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View (grain = town) – increase in incidence from previous day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0336A9A-825C-4B60-9BA9-0F9F8CB536C6}"/>
              </a:ext>
            </a:extLst>
          </p:cNvPr>
          <p:cNvSpPr/>
          <p:nvPr/>
        </p:nvSpPr>
        <p:spPr>
          <a:xfrm>
            <a:off x="2775621" y="1883321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530E79-BA90-431D-9CB4-4616A08623A4}"/>
              </a:ext>
            </a:extLst>
          </p:cNvPr>
          <p:cNvSpPr txBox="1"/>
          <p:nvPr/>
        </p:nvSpPr>
        <p:spPr>
          <a:xfrm>
            <a:off x="8013216" y="900003"/>
            <a:ext cx="3702534" cy="5454869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342900" indent="-342900">
              <a:buAutoNum type="arabicParenR"/>
            </a:pPr>
            <a:r>
              <a:rPr lang="en-US" sz="1400" i="1" dirty="0"/>
              <a:t>State high risk town tab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Contextual filtering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owns rank ordered by metric</a:t>
            </a:r>
          </a:p>
          <a:p>
            <a:pPr marL="342900" indent="-342900">
              <a:buAutoNum type="arabicParenR"/>
            </a:pPr>
            <a:endParaRPr lang="en-US" sz="1400" i="1" dirty="0"/>
          </a:p>
          <a:p>
            <a:pPr marL="342900" indent="-342900">
              <a:buAutoNum type="arabicParenR"/>
            </a:pPr>
            <a:r>
              <a:rPr lang="en-US" sz="1400" i="1" dirty="0"/>
              <a:t>The metric valu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CB31073-24FF-4E14-967C-121982EA104D}"/>
              </a:ext>
            </a:extLst>
          </p:cNvPr>
          <p:cNvSpPr/>
          <p:nvPr/>
        </p:nvSpPr>
        <p:spPr>
          <a:xfrm>
            <a:off x="772881" y="2229307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A07F59-9C20-4F66-BAEC-E45761FA8C95}"/>
              </a:ext>
            </a:extLst>
          </p:cNvPr>
          <p:cNvSpPr/>
          <p:nvPr/>
        </p:nvSpPr>
        <p:spPr>
          <a:xfrm>
            <a:off x="476250" y="4232186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3419667-8A51-4EE8-9C7F-5F2D6643CA02}"/>
              </a:ext>
            </a:extLst>
          </p:cNvPr>
          <p:cNvSpPr/>
          <p:nvPr/>
        </p:nvSpPr>
        <p:spPr>
          <a:xfrm>
            <a:off x="3158756" y="4415066"/>
            <a:ext cx="365760" cy="36576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8973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jYfapNSfSB.6hie9jh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486</TotalTime>
  <Words>1078</Words>
  <Application>Microsoft Office PowerPoint</Application>
  <PresentationFormat>Widescreen</PresentationFormat>
  <Paragraphs>247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Bookman Old Style</vt:lpstr>
      <vt:lpstr>Calibri</vt:lpstr>
      <vt:lpstr>Century Gothic</vt:lpstr>
      <vt:lpstr>1_Office Theme</vt:lpstr>
      <vt:lpstr>think-cell Slide</vt:lpstr>
      <vt:lpstr>PowerPoint Presentation</vt:lpstr>
      <vt:lpstr>PowerPoint Presentation</vt:lpstr>
      <vt:lpstr>Executive Summary</vt:lpstr>
      <vt:lpstr>Actual trend vs. predicted using LSTM</vt:lpstr>
      <vt:lpstr>PowerPoint Presentation</vt:lpstr>
      <vt:lpstr>Understand Data</vt:lpstr>
      <vt:lpstr>Dashboard layout – top 20 high risk towns</vt:lpstr>
      <vt:lpstr>US View – increase in incidence from previous day</vt:lpstr>
      <vt:lpstr>State View (grain = town) – increase in incidence from previous day</vt:lpstr>
      <vt:lpstr>State View – cumulative incidence till 04/04/2020</vt:lpstr>
      <vt:lpstr>State View – population size in 04/04/2020</vt:lpstr>
      <vt:lpstr>Town trend – incidence rate</vt:lpstr>
      <vt:lpstr>Town trend – incidence growth</vt:lpstr>
      <vt:lpstr>Town trend – incidence growth</vt:lpstr>
      <vt:lpstr>Town trend – incidence growth</vt:lpstr>
      <vt:lpstr>Town trend – incidence growth</vt:lpstr>
      <vt:lpstr>Build MVP</vt:lpstr>
      <vt:lpstr>Algorithm development steps</vt:lpstr>
      <vt:lpstr>Enhance Forecasting Process</vt:lpstr>
      <vt:lpstr>Enriching components – data &amp; algorithms</vt:lpstr>
      <vt:lpstr>Appendix – Files in package</vt:lpstr>
      <vt:lpstr>Files in the package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lla, Vishwa</dc:creator>
  <cp:lastModifiedBy>Vishwa Kolla</cp:lastModifiedBy>
  <cp:revision>2396</cp:revision>
  <dcterms:created xsi:type="dcterms:W3CDTF">2019-01-26T18:14:04Z</dcterms:created>
  <dcterms:modified xsi:type="dcterms:W3CDTF">2020-04-06T11:39:30Z</dcterms:modified>
</cp:coreProperties>
</file>